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slides/slide116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393.xml" ContentType="application/vnd.openxmlformats-officedocument.presentationml.tags+xml"/>
  <Override PartName="/ppt/notesSlides/notesSlide116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21" r:id="rId119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slide" Target="/ppt/slides/slide116.xml" Id="rId11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20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16.xml.rels>&#65279;<?xml version="1.0" encoding="utf-8"?><Relationships xmlns="http://schemas.openxmlformats.org/package/2006/relationships"><Relationship Type="http://schemas.openxmlformats.org/officeDocument/2006/relationships/slide" Target="/ppt/slides/slide116.xml" Id="rId2" /><Relationship Type="http://schemas.openxmlformats.org/officeDocument/2006/relationships/notesMaster" Target="/ppt/notesMasters/notesMaster1.xml" Id="rId1" /></Relationships>
</file>

<file path=ppt/notesSlides/notesSlide1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4737293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16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393.xml" Id="rId2" /><Relationship Type="http://schemas.openxmlformats.org/officeDocument/2006/relationships/vmlDrawing" Target="/ppt/drawings/vmlDrawing120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120.bin" Id="rId5" /><Relationship Type="http://schemas.openxmlformats.org/officeDocument/2006/relationships/notesSlide" Target="/ppt/notesSlides/notesSlide116.xml" Id="rId4" /></Relationships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6311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39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Circle with numbered text II</a:t>
            </a:r>
          </a:p>
        </p:txBody>
      </p:sp>
      <p:cxnSp>
        <p:nvCxnSpPr>
          <p:cNvPr id="83" name="Gerade Verbindung 22">
            <a:extLst>
              <a:ext uri="{FF2B5EF4-FFF2-40B4-BE49-F238E27FC236}">
                <a16:creationId xmlns:a16="http://schemas.microsoft.com/office/drawing/2014/main" id="{8B6F3652-BBE6-FDB5-0AA4-0887A1196A46}"/>
              </a:ext>
            </a:extLst>
          </p:cNvPr>
          <p:cNvCxnSpPr>
            <a:cxnSpLocks/>
          </p:cNvCxnSpPr>
          <p:nvPr/>
        </p:nvCxnSpPr>
        <p:spPr bwMode="gray">
          <a:xfrm>
            <a:off x="7000875" y="1884505"/>
            <a:ext cx="4823541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platzhalter 13">
            <a:extLst>
              <a:ext uri="{FF2B5EF4-FFF2-40B4-BE49-F238E27FC236}">
                <a16:creationId xmlns:a16="http://schemas.microsoft.com/office/drawing/2014/main" id="{A505D567-46E9-B565-21B3-6256C75769A1}"/>
              </a:ext>
            </a:extLst>
          </p:cNvPr>
          <p:cNvSpPr txBox="1">
            <a:spLocks/>
          </p:cNvSpPr>
          <p:nvPr/>
        </p:nvSpPr>
        <p:spPr bwMode="gray">
          <a:xfrm>
            <a:off x="8930958" y="1534803"/>
            <a:ext cx="2893456" cy="349702"/>
          </a:xfrm>
          <a:prstGeom prst="rect">
            <a:avLst/>
          </a:prstGeom>
        </p:spPr>
        <p:txBody>
          <a:bodyPr vert="horz" wrap="square" lIns="0" tIns="0" rIns="0" bIns="7200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algn="r"/>
            <a:r>
              <a:rPr lang="en-US" sz="1800" cap="none"/>
              <a:t>Sample text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A44A279C-51B9-3212-7B04-BFF07B8C2439}"/>
              </a:ext>
            </a:extLst>
          </p:cNvPr>
          <p:cNvSpPr>
            <a:spLocks/>
          </p:cNvSpPr>
          <p:nvPr/>
        </p:nvSpPr>
        <p:spPr>
          <a:xfrm flipH="1">
            <a:off x="8930958" y="1884505"/>
            <a:ext cx="2893456" cy="61264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08000" rIns="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r">
              <a:spcAft>
                <a:spcPts val="600"/>
              </a:spcAft>
              <a:defRPr/>
            </a:pPr>
            <a:r>
              <a:rPr lang="en-US" sz="1400">
                <a:solidFill>
                  <a:schemeClr val="tx1"/>
                </a:solidFill>
              </a:rPr>
              <a:t>Lorem ipsum dolor sit </a:t>
            </a:r>
            <a:r>
              <a:rPr lang="en-US" sz="1400" err="1">
                <a:solidFill>
                  <a:schemeClr val="tx1"/>
                </a:solidFill>
              </a:rPr>
              <a:t>amet</a:t>
            </a:r>
            <a:r>
              <a:rPr lang="en-US" sz="1400">
                <a:solidFill>
                  <a:schemeClr val="tx1"/>
                </a:solidFill>
              </a:rPr>
              <a:t>, </a:t>
            </a:r>
            <a:br>
              <a:rPr lang="en-US" sz="1400">
                <a:solidFill>
                  <a:schemeClr val="tx1"/>
                </a:solidFill>
              </a:rPr>
            </a:br>
            <a:r>
              <a:rPr lang="en-US" sz="1400" err="1">
                <a:solidFill>
                  <a:schemeClr val="tx1"/>
                </a:solidFill>
              </a:rPr>
              <a:t>consectetur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adipiscing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elit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tempor</a:t>
            </a:r>
            <a:r>
              <a:rPr lang="en-US" sz="1400">
                <a:solidFill>
                  <a:schemeClr val="tx1"/>
                </a:solidFill>
              </a:rPr>
              <a:t> </a:t>
            </a:r>
          </a:p>
        </p:txBody>
      </p:sp>
      <p:cxnSp>
        <p:nvCxnSpPr>
          <p:cNvPr id="86" name="Gerade Verbindung 22">
            <a:extLst>
              <a:ext uri="{FF2B5EF4-FFF2-40B4-BE49-F238E27FC236}">
                <a16:creationId xmlns:a16="http://schemas.microsoft.com/office/drawing/2014/main" id="{9307EDB7-DD6F-9E6E-5ECA-DA1415007504}"/>
              </a:ext>
            </a:extLst>
          </p:cNvPr>
          <p:cNvCxnSpPr>
            <a:cxnSpLocks/>
          </p:cNvCxnSpPr>
          <p:nvPr/>
        </p:nvCxnSpPr>
        <p:spPr bwMode="gray">
          <a:xfrm>
            <a:off x="7265116" y="3086266"/>
            <a:ext cx="455930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Textplatzhalter 13">
            <a:extLst>
              <a:ext uri="{FF2B5EF4-FFF2-40B4-BE49-F238E27FC236}">
                <a16:creationId xmlns:a16="http://schemas.microsoft.com/office/drawing/2014/main" id="{1DE7E683-8F31-24EF-267F-C205648FD96E}"/>
              </a:ext>
            </a:extLst>
          </p:cNvPr>
          <p:cNvSpPr txBox="1">
            <a:spLocks/>
          </p:cNvSpPr>
          <p:nvPr/>
        </p:nvSpPr>
        <p:spPr bwMode="gray">
          <a:xfrm>
            <a:off x="8930958" y="2736564"/>
            <a:ext cx="2893456" cy="349702"/>
          </a:xfrm>
          <a:prstGeom prst="rect">
            <a:avLst/>
          </a:prstGeom>
        </p:spPr>
        <p:txBody>
          <a:bodyPr vert="horz" wrap="square" lIns="0" tIns="0" rIns="0" bIns="7200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algn="r"/>
            <a:r>
              <a:rPr lang="en-US" sz="1800" cap="none"/>
              <a:t>Sample text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3A53F894-683D-EF8B-5521-A77716BB0055}"/>
              </a:ext>
            </a:extLst>
          </p:cNvPr>
          <p:cNvSpPr>
            <a:spLocks/>
          </p:cNvSpPr>
          <p:nvPr/>
        </p:nvSpPr>
        <p:spPr>
          <a:xfrm flipH="1">
            <a:off x="8930958" y="3086266"/>
            <a:ext cx="2893456" cy="61264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08000" rIns="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r">
              <a:spcAft>
                <a:spcPts val="600"/>
              </a:spcAft>
              <a:defRPr/>
            </a:pPr>
            <a:r>
              <a:rPr lang="en-US" sz="1400">
                <a:solidFill>
                  <a:schemeClr val="tx1"/>
                </a:solidFill>
              </a:rPr>
              <a:t>Lorem ipsum dolor sit </a:t>
            </a:r>
            <a:r>
              <a:rPr lang="en-US" sz="1400" err="1">
                <a:solidFill>
                  <a:schemeClr val="tx1"/>
                </a:solidFill>
              </a:rPr>
              <a:t>amet</a:t>
            </a:r>
            <a:r>
              <a:rPr lang="en-US" sz="1400">
                <a:solidFill>
                  <a:schemeClr val="tx1"/>
                </a:solidFill>
              </a:rPr>
              <a:t>, </a:t>
            </a:r>
            <a:br>
              <a:rPr lang="en-US" sz="1400">
                <a:solidFill>
                  <a:schemeClr val="tx1"/>
                </a:solidFill>
              </a:rPr>
            </a:br>
            <a:r>
              <a:rPr lang="en-US" sz="1400" err="1">
                <a:solidFill>
                  <a:schemeClr val="tx1"/>
                </a:solidFill>
              </a:rPr>
              <a:t>consectetur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adipiscing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elit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tempor</a:t>
            </a:r>
            <a:r>
              <a:rPr lang="en-US" sz="1400">
                <a:solidFill>
                  <a:schemeClr val="tx1"/>
                </a:solidFill>
              </a:rPr>
              <a:t> </a:t>
            </a:r>
          </a:p>
        </p:txBody>
      </p:sp>
      <p:cxnSp>
        <p:nvCxnSpPr>
          <p:cNvPr id="89" name="Gerade Verbindung 22">
            <a:extLst>
              <a:ext uri="{FF2B5EF4-FFF2-40B4-BE49-F238E27FC236}">
                <a16:creationId xmlns:a16="http://schemas.microsoft.com/office/drawing/2014/main" id="{99124457-2DB1-06E8-D24A-BBA202A0A59F}"/>
              </a:ext>
            </a:extLst>
          </p:cNvPr>
          <p:cNvCxnSpPr>
            <a:cxnSpLocks/>
          </p:cNvCxnSpPr>
          <p:nvPr/>
        </p:nvCxnSpPr>
        <p:spPr bwMode="gray">
          <a:xfrm>
            <a:off x="7265116" y="4288027"/>
            <a:ext cx="455930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extplatzhalter 13">
            <a:extLst>
              <a:ext uri="{FF2B5EF4-FFF2-40B4-BE49-F238E27FC236}">
                <a16:creationId xmlns:a16="http://schemas.microsoft.com/office/drawing/2014/main" id="{FEFC07F4-28E5-0798-75B3-726DBE7DFD68}"/>
              </a:ext>
            </a:extLst>
          </p:cNvPr>
          <p:cNvSpPr txBox="1">
            <a:spLocks/>
          </p:cNvSpPr>
          <p:nvPr/>
        </p:nvSpPr>
        <p:spPr bwMode="gray">
          <a:xfrm>
            <a:off x="8930958" y="3938325"/>
            <a:ext cx="2893456" cy="349702"/>
          </a:xfrm>
          <a:prstGeom prst="rect">
            <a:avLst/>
          </a:prstGeom>
        </p:spPr>
        <p:txBody>
          <a:bodyPr vert="horz" wrap="square" lIns="0" tIns="0" rIns="0" bIns="7200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algn="r"/>
            <a:r>
              <a:rPr lang="en-US" sz="1800" cap="none"/>
              <a:t>Sample text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0EDC68AE-53FD-FF33-88A9-CDDE044ACFAC}"/>
              </a:ext>
            </a:extLst>
          </p:cNvPr>
          <p:cNvSpPr>
            <a:spLocks/>
          </p:cNvSpPr>
          <p:nvPr/>
        </p:nvSpPr>
        <p:spPr>
          <a:xfrm flipH="1">
            <a:off x="8930958" y="4288027"/>
            <a:ext cx="2893456" cy="61264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08000" rIns="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r">
              <a:spcAft>
                <a:spcPts val="600"/>
              </a:spcAft>
              <a:defRPr/>
            </a:pPr>
            <a:r>
              <a:rPr lang="en-US" sz="1400">
                <a:solidFill>
                  <a:schemeClr val="tx1"/>
                </a:solidFill>
              </a:rPr>
              <a:t>Lorem ipsum dolor sit </a:t>
            </a:r>
            <a:r>
              <a:rPr lang="en-US" sz="1400" err="1">
                <a:solidFill>
                  <a:schemeClr val="tx1"/>
                </a:solidFill>
              </a:rPr>
              <a:t>amet</a:t>
            </a:r>
            <a:r>
              <a:rPr lang="en-US" sz="1400">
                <a:solidFill>
                  <a:schemeClr val="tx1"/>
                </a:solidFill>
              </a:rPr>
              <a:t>, </a:t>
            </a:r>
            <a:br>
              <a:rPr lang="en-US" sz="1400">
                <a:solidFill>
                  <a:schemeClr val="tx1"/>
                </a:solidFill>
              </a:rPr>
            </a:br>
            <a:r>
              <a:rPr lang="en-US" sz="1400" err="1">
                <a:solidFill>
                  <a:schemeClr val="tx1"/>
                </a:solidFill>
              </a:rPr>
              <a:t>consectetur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adipiscing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elit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tempor</a:t>
            </a:r>
            <a:r>
              <a:rPr lang="en-US" sz="1400">
                <a:solidFill>
                  <a:schemeClr val="tx1"/>
                </a:solidFill>
              </a:rPr>
              <a:t> </a:t>
            </a:r>
          </a:p>
        </p:txBody>
      </p:sp>
      <p:cxnSp>
        <p:nvCxnSpPr>
          <p:cNvPr id="92" name="Gerade Verbindung 22">
            <a:extLst>
              <a:ext uri="{FF2B5EF4-FFF2-40B4-BE49-F238E27FC236}">
                <a16:creationId xmlns:a16="http://schemas.microsoft.com/office/drawing/2014/main" id="{7D386BE2-ED01-9E5F-0FE3-FA79C2042596}"/>
              </a:ext>
            </a:extLst>
          </p:cNvPr>
          <p:cNvCxnSpPr>
            <a:cxnSpLocks/>
          </p:cNvCxnSpPr>
          <p:nvPr/>
        </p:nvCxnSpPr>
        <p:spPr bwMode="gray">
          <a:xfrm>
            <a:off x="7000875" y="5489787"/>
            <a:ext cx="4823541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Textplatzhalter 13">
            <a:extLst>
              <a:ext uri="{FF2B5EF4-FFF2-40B4-BE49-F238E27FC236}">
                <a16:creationId xmlns:a16="http://schemas.microsoft.com/office/drawing/2014/main" id="{2D04D6FD-A289-8BD7-E9F9-7543AA692664}"/>
              </a:ext>
            </a:extLst>
          </p:cNvPr>
          <p:cNvSpPr txBox="1">
            <a:spLocks/>
          </p:cNvSpPr>
          <p:nvPr/>
        </p:nvSpPr>
        <p:spPr bwMode="gray">
          <a:xfrm>
            <a:off x="8930958" y="5140085"/>
            <a:ext cx="2893456" cy="349702"/>
          </a:xfrm>
          <a:prstGeom prst="rect">
            <a:avLst/>
          </a:prstGeom>
        </p:spPr>
        <p:txBody>
          <a:bodyPr vert="horz" wrap="square" lIns="0" tIns="0" rIns="0" bIns="7200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algn="r"/>
            <a:r>
              <a:rPr lang="en-US" sz="1800" cap="none"/>
              <a:t>Sample text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CB3C381F-C10A-209A-1D47-05F4E34346FA}"/>
              </a:ext>
            </a:extLst>
          </p:cNvPr>
          <p:cNvSpPr>
            <a:spLocks/>
          </p:cNvSpPr>
          <p:nvPr/>
        </p:nvSpPr>
        <p:spPr>
          <a:xfrm flipH="1">
            <a:off x="8930958" y="5489787"/>
            <a:ext cx="2893456" cy="61264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08000" rIns="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r">
              <a:spcAft>
                <a:spcPts val="600"/>
              </a:spcAft>
              <a:defRPr/>
            </a:pPr>
            <a:r>
              <a:rPr lang="en-US" sz="1400">
                <a:solidFill>
                  <a:schemeClr val="tx1"/>
                </a:solidFill>
              </a:rPr>
              <a:t>Lorem ipsum dolor sit </a:t>
            </a:r>
            <a:r>
              <a:rPr lang="en-US" sz="1400" err="1">
                <a:solidFill>
                  <a:schemeClr val="tx1"/>
                </a:solidFill>
              </a:rPr>
              <a:t>amet</a:t>
            </a:r>
            <a:r>
              <a:rPr lang="en-US" sz="1400">
                <a:solidFill>
                  <a:schemeClr val="tx1"/>
                </a:solidFill>
              </a:rPr>
              <a:t>, </a:t>
            </a:r>
            <a:br>
              <a:rPr lang="en-US" sz="1400">
                <a:solidFill>
                  <a:schemeClr val="tx1"/>
                </a:solidFill>
              </a:rPr>
            </a:br>
            <a:r>
              <a:rPr lang="en-US" sz="1400" err="1">
                <a:solidFill>
                  <a:schemeClr val="tx1"/>
                </a:solidFill>
              </a:rPr>
              <a:t>consectetur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adipiscing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elit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tempor</a:t>
            </a:r>
            <a:r>
              <a:rPr lang="en-US" sz="1400">
                <a:solidFill>
                  <a:schemeClr val="tx1"/>
                </a:solidFill>
              </a:rPr>
              <a:t> </a:t>
            </a:r>
          </a:p>
        </p:txBody>
      </p:sp>
      <p:cxnSp>
        <p:nvCxnSpPr>
          <p:cNvPr id="95" name="Gerade Verbindung 22">
            <a:extLst>
              <a:ext uri="{FF2B5EF4-FFF2-40B4-BE49-F238E27FC236}">
                <a16:creationId xmlns:a16="http://schemas.microsoft.com/office/drawing/2014/main" id="{DDD4B947-1E08-9A79-2B30-FA7519C0423C}"/>
              </a:ext>
            </a:extLst>
          </p:cNvPr>
          <p:cNvCxnSpPr>
            <a:cxnSpLocks/>
          </p:cNvCxnSpPr>
          <p:nvPr/>
        </p:nvCxnSpPr>
        <p:spPr bwMode="gray">
          <a:xfrm>
            <a:off x="417572" y="1884505"/>
            <a:ext cx="4823541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Textplatzhalter 13">
            <a:extLst>
              <a:ext uri="{FF2B5EF4-FFF2-40B4-BE49-F238E27FC236}">
                <a16:creationId xmlns:a16="http://schemas.microsoft.com/office/drawing/2014/main" id="{7704A083-19C1-3AB6-E86E-8C3160484CFF}"/>
              </a:ext>
            </a:extLst>
          </p:cNvPr>
          <p:cNvSpPr txBox="1">
            <a:spLocks/>
          </p:cNvSpPr>
          <p:nvPr/>
        </p:nvSpPr>
        <p:spPr bwMode="gray">
          <a:xfrm>
            <a:off x="417572" y="1534803"/>
            <a:ext cx="2893456" cy="349702"/>
          </a:xfrm>
          <a:prstGeom prst="rect">
            <a:avLst/>
          </a:prstGeom>
        </p:spPr>
        <p:txBody>
          <a:bodyPr vert="horz" wrap="square" lIns="0" tIns="0" rIns="0" bIns="7200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r>
              <a:rPr lang="en-US" sz="1800" cap="none"/>
              <a:t>Sample text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035D2216-C6C4-5B4C-53EA-9DB8A7D39D54}"/>
              </a:ext>
            </a:extLst>
          </p:cNvPr>
          <p:cNvSpPr>
            <a:spLocks/>
          </p:cNvSpPr>
          <p:nvPr/>
        </p:nvSpPr>
        <p:spPr>
          <a:xfrm flipH="1">
            <a:off x="417572" y="1884505"/>
            <a:ext cx="2893456" cy="61264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08000" rIns="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en-US" sz="1400">
                <a:solidFill>
                  <a:schemeClr val="tx1"/>
                </a:solidFill>
              </a:rPr>
              <a:t>Lorem ipsum dolor sit </a:t>
            </a:r>
            <a:r>
              <a:rPr lang="en-US" sz="1400" err="1">
                <a:solidFill>
                  <a:schemeClr val="tx1"/>
                </a:solidFill>
              </a:rPr>
              <a:t>amet</a:t>
            </a:r>
            <a:r>
              <a:rPr lang="en-US" sz="1400">
                <a:solidFill>
                  <a:schemeClr val="tx1"/>
                </a:solidFill>
              </a:rPr>
              <a:t>, </a:t>
            </a:r>
            <a:br>
              <a:rPr lang="en-US" sz="1400">
                <a:solidFill>
                  <a:schemeClr val="tx1"/>
                </a:solidFill>
              </a:rPr>
            </a:br>
            <a:r>
              <a:rPr lang="en-US" sz="1400" err="1">
                <a:solidFill>
                  <a:schemeClr val="tx1"/>
                </a:solidFill>
              </a:rPr>
              <a:t>consectetur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adipiscing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elit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tempor</a:t>
            </a:r>
            <a:r>
              <a:rPr lang="en-US" sz="1400">
                <a:solidFill>
                  <a:schemeClr val="tx1"/>
                </a:solidFill>
              </a:rPr>
              <a:t> </a:t>
            </a:r>
          </a:p>
        </p:txBody>
      </p:sp>
      <p:cxnSp>
        <p:nvCxnSpPr>
          <p:cNvPr id="98" name="Gerade Verbindung 22">
            <a:extLst>
              <a:ext uri="{FF2B5EF4-FFF2-40B4-BE49-F238E27FC236}">
                <a16:creationId xmlns:a16="http://schemas.microsoft.com/office/drawing/2014/main" id="{E4489EBE-9E10-90A3-C535-39E0DA2CB796}"/>
              </a:ext>
            </a:extLst>
          </p:cNvPr>
          <p:cNvCxnSpPr>
            <a:cxnSpLocks/>
          </p:cNvCxnSpPr>
          <p:nvPr/>
        </p:nvCxnSpPr>
        <p:spPr bwMode="gray">
          <a:xfrm>
            <a:off x="417572" y="3086266"/>
            <a:ext cx="455930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Textplatzhalter 13">
            <a:extLst>
              <a:ext uri="{FF2B5EF4-FFF2-40B4-BE49-F238E27FC236}">
                <a16:creationId xmlns:a16="http://schemas.microsoft.com/office/drawing/2014/main" id="{D5DE9F8B-87C9-ACF4-80EA-2A3054892096}"/>
              </a:ext>
            </a:extLst>
          </p:cNvPr>
          <p:cNvSpPr txBox="1">
            <a:spLocks/>
          </p:cNvSpPr>
          <p:nvPr/>
        </p:nvSpPr>
        <p:spPr bwMode="gray">
          <a:xfrm>
            <a:off x="417572" y="2736564"/>
            <a:ext cx="2893456" cy="349702"/>
          </a:xfrm>
          <a:prstGeom prst="rect">
            <a:avLst/>
          </a:prstGeom>
        </p:spPr>
        <p:txBody>
          <a:bodyPr vert="horz" wrap="square" lIns="0" tIns="0" rIns="0" bIns="7200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r>
              <a:rPr lang="en-US" sz="1800" cap="none"/>
              <a:t>Sample text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01E6BEC7-9205-085E-20E8-22BB02E450B8}"/>
              </a:ext>
            </a:extLst>
          </p:cNvPr>
          <p:cNvSpPr>
            <a:spLocks/>
          </p:cNvSpPr>
          <p:nvPr/>
        </p:nvSpPr>
        <p:spPr>
          <a:xfrm flipH="1">
            <a:off x="417572" y="3086266"/>
            <a:ext cx="2893456" cy="61264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08000" rIns="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en-US" sz="1400">
                <a:solidFill>
                  <a:schemeClr val="tx1"/>
                </a:solidFill>
              </a:rPr>
              <a:t>Lorem ipsum dolor sit </a:t>
            </a:r>
            <a:r>
              <a:rPr lang="en-US" sz="1400" err="1">
                <a:solidFill>
                  <a:schemeClr val="tx1"/>
                </a:solidFill>
              </a:rPr>
              <a:t>amet</a:t>
            </a:r>
            <a:r>
              <a:rPr lang="en-US" sz="1400">
                <a:solidFill>
                  <a:schemeClr val="tx1"/>
                </a:solidFill>
              </a:rPr>
              <a:t>, </a:t>
            </a:r>
            <a:br>
              <a:rPr lang="en-US" sz="1400">
                <a:solidFill>
                  <a:schemeClr val="tx1"/>
                </a:solidFill>
              </a:rPr>
            </a:br>
            <a:r>
              <a:rPr lang="en-US" sz="1400" err="1">
                <a:solidFill>
                  <a:schemeClr val="tx1"/>
                </a:solidFill>
              </a:rPr>
              <a:t>consectetur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adipiscing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elit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tempor</a:t>
            </a:r>
            <a:r>
              <a:rPr lang="en-US" sz="1400">
                <a:solidFill>
                  <a:schemeClr val="tx1"/>
                </a:solidFill>
              </a:rPr>
              <a:t> </a:t>
            </a:r>
          </a:p>
        </p:txBody>
      </p:sp>
      <p:cxnSp>
        <p:nvCxnSpPr>
          <p:cNvPr id="101" name="Gerade Verbindung 22">
            <a:extLst>
              <a:ext uri="{FF2B5EF4-FFF2-40B4-BE49-F238E27FC236}">
                <a16:creationId xmlns:a16="http://schemas.microsoft.com/office/drawing/2014/main" id="{DD409D6F-EA01-CD96-B3B6-830854546550}"/>
              </a:ext>
            </a:extLst>
          </p:cNvPr>
          <p:cNvCxnSpPr>
            <a:cxnSpLocks/>
          </p:cNvCxnSpPr>
          <p:nvPr/>
        </p:nvCxnSpPr>
        <p:spPr bwMode="gray">
          <a:xfrm>
            <a:off x="417572" y="4288027"/>
            <a:ext cx="455930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Textplatzhalter 13">
            <a:extLst>
              <a:ext uri="{FF2B5EF4-FFF2-40B4-BE49-F238E27FC236}">
                <a16:creationId xmlns:a16="http://schemas.microsoft.com/office/drawing/2014/main" id="{60633815-B80F-1B2A-F6FD-8F5E853F09B1}"/>
              </a:ext>
            </a:extLst>
          </p:cNvPr>
          <p:cNvSpPr txBox="1">
            <a:spLocks/>
          </p:cNvSpPr>
          <p:nvPr/>
        </p:nvSpPr>
        <p:spPr bwMode="gray">
          <a:xfrm>
            <a:off x="417572" y="3938325"/>
            <a:ext cx="2893456" cy="349702"/>
          </a:xfrm>
          <a:prstGeom prst="rect">
            <a:avLst/>
          </a:prstGeom>
        </p:spPr>
        <p:txBody>
          <a:bodyPr vert="horz" wrap="square" lIns="0" tIns="0" rIns="0" bIns="7200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r>
              <a:rPr lang="en-US" sz="1800" cap="none"/>
              <a:t>Sample text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CB669058-287D-A8D3-080F-75000CE178AC}"/>
              </a:ext>
            </a:extLst>
          </p:cNvPr>
          <p:cNvSpPr>
            <a:spLocks/>
          </p:cNvSpPr>
          <p:nvPr/>
        </p:nvSpPr>
        <p:spPr>
          <a:xfrm flipH="1">
            <a:off x="417572" y="4288027"/>
            <a:ext cx="2893456" cy="61264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08000" rIns="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en-US" sz="1400">
                <a:solidFill>
                  <a:schemeClr val="tx1"/>
                </a:solidFill>
              </a:rPr>
              <a:t>Lorem ipsum dolor sit </a:t>
            </a:r>
            <a:r>
              <a:rPr lang="en-US" sz="1400" err="1">
                <a:solidFill>
                  <a:schemeClr val="tx1"/>
                </a:solidFill>
              </a:rPr>
              <a:t>amet</a:t>
            </a:r>
            <a:r>
              <a:rPr lang="en-US" sz="1400">
                <a:solidFill>
                  <a:schemeClr val="tx1"/>
                </a:solidFill>
              </a:rPr>
              <a:t>, </a:t>
            </a:r>
            <a:br>
              <a:rPr lang="en-US" sz="1400">
                <a:solidFill>
                  <a:schemeClr val="tx1"/>
                </a:solidFill>
              </a:rPr>
            </a:br>
            <a:r>
              <a:rPr lang="en-US" sz="1400" err="1">
                <a:solidFill>
                  <a:schemeClr val="tx1"/>
                </a:solidFill>
              </a:rPr>
              <a:t>consectetur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adipiscing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elit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tempor</a:t>
            </a:r>
            <a:r>
              <a:rPr lang="en-US" sz="1400">
                <a:solidFill>
                  <a:schemeClr val="tx1"/>
                </a:solidFill>
              </a:rPr>
              <a:t> </a:t>
            </a:r>
          </a:p>
        </p:txBody>
      </p:sp>
      <p:cxnSp>
        <p:nvCxnSpPr>
          <p:cNvPr id="104" name="Gerade Verbindung 22">
            <a:extLst>
              <a:ext uri="{FF2B5EF4-FFF2-40B4-BE49-F238E27FC236}">
                <a16:creationId xmlns:a16="http://schemas.microsoft.com/office/drawing/2014/main" id="{9B6A2F9F-B868-6153-279B-6B2ABB245E16}"/>
              </a:ext>
            </a:extLst>
          </p:cNvPr>
          <p:cNvCxnSpPr>
            <a:cxnSpLocks/>
          </p:cNvCxnSpPr>
          <p:nvPr/>
        </p:nvCxnSpPr>
        <p:spPr bwMode="gray">
          <a:xfrm>
            <a:off x="417572" y="5489787"/>
            <a:ext cx="4823541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extplatzhalter 13">
            <a:extLst>
              <a:ext uri="{FF2B5EF4-FFF2-40B4-BE49-F238E27FC236}">
                <a16:creationId xmlns:a16="http://schemas.microsoft.com/office/drawing/2014/main" id="{EFBC074A-702D-9491-4905-92933C7B7A42}"/>
              </a:ext>
            </a:extLst>
          </p:cNvPr>
          <p:cNvSpPr txBox="1">
            <a:spLocks/>
          </p:cNvSpPr>
          <p:nvPr/>
        </p:nvSpPr>
        <p:spPr bwMode="gray">
          <a:xfrm>
            <a:off x="417572" y="5140085"/>
            <a:ext cx="2893456" cy="349702"/>
          </a:xfrm>
          <a:prstGeom prst="rect">
            <a:avLst/>
          </a:prstGeom>
        </p:spPr>
        <p:txBody>
          <a:bodyPr vert="horz" wrap="square" lIns="0" tIns="0" rIns="0" bIns="7200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r>
              <a:rPr lang="en-US" sz="1800" cap="none"/>
              <a:t>Sample text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200B8873-0810-F9B4-3F94-78CBC6CE4D3D}"/>
              </a:ext>
            </a:extLst>
          </p:cNvPr>
          <p:cNvSpPr>
            <a:spLocks/>
          </p:cNvSpPr>
          <p:nvPr/>
        </p:nvSpPr>
        <p:spPr>
          <a:xfrm flipH="1">
            <a:off x="417572" y="5489787"/>
            <a:ext cx="2893456" cy="61264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08000" rIns="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en-US" sz="1400">
                <a:solidFill>
                  <a:schemeClr val="tx1"/>
                </a:solidFill>
              </a:rPr>
              <a:t>Lorem ipsum dolor sit </a:t>
            </a:r>
            <a:r>
              <a:rPr lang="en-US" sz="1400" err="1">
                <a:solidFill>
                  <a:schemeClr val="tx1"/>
                </a:solidFill>
              </a:rPr>
              <a:t>amet</a:t>
            </a:r>
            <a:r>
              <a:rPr lang="en-US" sz="1400">
                <a:solidFill>
                  <a:schemeClr val="tx1"/>
                </a:solidFill>
              </a:rPr>
              <a:t>, </a:t>
            </a:r>
            <a:br>
              <a:rPr lang="en-US" sz="1400">
                <a:solidFill>
                  <a:schemeClr val="tx1"/>
                </a:solidFill>
              </a:rPr>
            </a:br>
            <a:r>
              <a:rPr lang="en-US" sz="1400" err="1">
                <a:solidFill>
                  <a:schemeClr val="tx1"/>
                </a:solidFill>
              </a:rPr>
              <a:t>consectetur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adipiscing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elit</a:t>
            </a:r>
            <a:r>
              <a:rPr lang="en-US" sz="1400">
                <a:solidFill>
                  <a:schemeClr val="tx1"/>
                </a:solidFill>
              </a:rPr>
              <a:t> </a:t>
            </a:r>
            <a:r>
              <a:rPr lang="en-US" sz="1400" err="1">
                <a:solidFill>
                  <a:schemeClr val="tx1"/>
                </a:solidFill>
              </a:rPr>
              <a:t>tempor</a:t>
            </a:r>
            <a:r>
              <a:rPr lang="en-US" sz="140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07" name="Ellipse 106">
            <a:extLst>
              <a:ext uri="{FF2B5EF4-FFF2-40B4-BE49-F238E27FC236}">
                <a16:creationId xmlns:a16="http://schemas.microsoft.com/office/drawing/2014/main" id="{F10E116C-9C9A-80C2-E0B6-4697AE8BDA85}"/>
              </a:ext>
            </a:extLst>
          </p:cNvPr>
          <p:cNvSpPr>
            <a:spLocks/>
          </p:cNvSpPr>
          <p:nvPr/>
        </p:nvSpPr>
        <p:spPr>
          <a:xfrm>
            <a:off x="3860825" y="1572145"/>
            <a:ext cx="4471529" cy="4472109"/>
          </a:xfrm>
          <a:prstGeom prst="ellipse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6EA600"/>
              </a:solidFill>
              <a:effectLst/>
              <a:uLnTx/>
              <a:uFillTx/>
              <a:ea typeface="+mn-ea"/>
              <a:sym typeface="Futura"/>
            </a:endParaRPr>
          </a:p>
        </p:txBody>
      </p:sp>
      <p:sp>
        <p:nvSpPr>
          <p:cNvPr id="108" name="Ellipse 107">
            <a:extLst>
              <a:ext uri="{FF2B5EF4-FFF2-40B4-BE49-F238E27FC236}">
                <a16:creationId xmlns:a16="http://schemas.microsoft.com/office/drawing/2014/main" id="{A3CCF1BC-E0F3-C7B7-6468-9D00383369B2}"/>
              </a:ext>
            </a:extLst>
          </p:cNvPr>
          <p:cNvSpPr>
            <a:spLocks/>
          </p:cNvSpPr>
          <p:nvPr/>
        </p:nvSpPr>
        <p:spPr>
          <a:xfrm>
            <a:off x="4577069" y="2288481"/>
            <a:ext cx="3039042" cy="3039436"/>
          </a:xfrm>
          <a:prstGeom prst="ellipse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ea typeface="+mn-ea"/>
                <a:sym typeface="Futura"/>
              </a:rPr>
              <a:t>Sample text</a:t>
            </a: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Insert your desired text</a:t>
            </a:r>
          </a:p>
          <a:p>
            <a:pPr marL="0" lvl="1" algn="ctr">
              <a:spcAft>
                <a:spcPts val="600"/>
              </a:spcAft>
              <a:buClr>
                <a:srgbClr val="000000"/>
              </a:buClr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sym typeface="Futura"/>
              </a:rPr>
              <a:t>Lorem ipsum dolor sit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sym typeface="Futura"/>
              </a:rPr>
              <a:t>ame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sym typeface="Futura"/>
              </a:rPr>
              <a:t>. Ut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sym typeface="Futura"/>
              </a:rPr>
              <a:t>enim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sym typeface="Futura"/>
              </a:rPr>
              <a:t> ad minim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sym typeface="Futura"/>
              </a:rPr>
              <a:t>veniam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sym typeface="Futura"/>
              </a:rPr>
              <a:t>.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sym typeface="Futura"/>
              </a:rPr>
              <a:t>Quis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sym typeface="Futura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sym typeface="Futura"/>
              </a:rPr>
              <a:t>nostrud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sym typeface="Futura"/>
              </a:rPr>
              <a:t> exercitation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sym typeface="Futura"/>
              </a:rPr>
              <a:t>ullamco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sym typeface="Futura"/>
              </a:rPr>
              <a:t>. 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6EA600"/>
              </a:solidFill>
              <a:effectLst/>
              <a:uLnTx/>
              <a:uFillTx/>
              <a:ea typeface="+mn-ea"/>
              <a:sym typeface="Futura"/>
            </a:endParaRPr>
          </a:p>
        </p:txBody>
      </p:sp>
      <p:sp>
        <p:nvSpPr>
          <p:cNvPr id="109" name="Freihandform: Form 108">
            <a:extLst>
              <a:ext uri="{FF2B5EF4-FFF2-40B4-BE49-F238E27FC236}">
                <a16:creationId xmlns:a16="http://schemas.microsoft.com/office/drawing/2014/main" id="{1989E240-5090-4DB8-705C-9AAE4A7F1012}"/>
              </a:ext>
            </a:extLst>
          </p:cNvPr>
          <p:cNvSpPr>
            <a:spLocks/>
          </p:cNvSpPr>
          <p:nvPr/>
        </p:nvSpPr>
        <p:spPr>
          <a:xfrm rot="2707235">
            <a:off x="4745944" y="5007368"/>
            <a:ext cx="1451952" cy="992011"/>
          </a:xfrm>
          <a:custGeom>
            <a:avLst/>
            <a:gdLst>
              <a:gd name="connsiteX0" fmla="*/ 901898 w 1233628"/>
              <a:gd name="connsiteY0" fmla="*/ 0 h 842847"/>
              <a:gd name="connsiteX1" fmla="*/ 1233628 w 1233628"/>
              <a:gd name="connsiteY1" fmla="*/ 331621 h 842847"/>
              <a:gd name="connsiteX2" fmla="*/ 1125634 w 1233628"/>
              <a:gd name="connsiteY2" fmla="*/ 429773 h 842847"/>
              <a:gd name="connsiteX3" fmla="*/ 156495 w 1233628"/>
              <a:gd name="connsiteY3" fmla="*/ 834945 h 842847"/>
              <a:gd name="connsiteX4" fmla="*/ 0 w 1233628"/>
              <a:gd name="connsiteY4" fmla="*/ 842847 h 842847"/>
              <a:gd name="connsiteX5" fmla="*/ 0 w 1233628"/>
              <a:gd name="connsiteY5" fmla="*/ 374093 h 842847"/>
              <a:gd name="connsiteX6" fmla="*/ 901898 w 1233628"/>
              <a:gd name="connsiteY6" fmla="*/ 0 h 84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33628" h="842847">
                <a:moveTo>
                  <a:pt x="901898" y="0"/>
                </a:moveTo>
                <a:lnTo>
                  <a:pt x="1233628" y="331621"/>
                </a:lnTo>
                <a:lnTo>
                  <a:pt x="1125634" y="429773"/>
                </a:lnTo>
                <a:cubicBezTo>
                  <a:pt x="856658" y="651751"/>
                  <a:pt x="522662" y="797758"/>
                  <a:pt x="156495" y="834945"/>
                </a:cubicBezTo>
                <a:lnTo>
                  <a:pt x="0" y="842847"/>
                </a:lnTo>
                <a:lnTo>
                  <a:pt x="0" y="374093"/>
                </a:lnTo>
                <a:cubicBezTo>
                  <a:pt x="349437" y="366757"/>
                  <a:pt x="666461" y="225638"/>
                  <a:pt x="901898" y="0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solidFill>
                <a:schemeClr val="accent6"/>
              </a:solidFill>
            </a:endParaRPr>
          </a:p>
        </p:txBody>
      </p:sp>
      <p:sp>
        <p:nvSpPr>
          <p:cNvPr id="110" name="Freihandform: Form 109">
            <a:extLst>
              <a:ext uri="{FF2B5EF4-FFF2-40B4-BE49-F238E27FC236}">
                <a16:creationId xmlns:a16="http://schemas.microsoft.com/office/drawing/2014/main" id="{072CB6C2-7294-1FAE-A1CE-A75963239649}"/>
              </a:ext>
            </a:extLst>
          </p:cNvPr>
          <p:cNvSpPr>
            <a:spLocks/>
          </p:cNvSpPr>
          <p:nvPr/>
        </p:nvSpPr>
        <p:spPr>
          <a:xfrm rot="2707235">
            <a:off x="5995213" y="1617291"/>
            <a:ext cx="1453123" cy="993195"/>
          </a:xfrm>
          <a:custGeom>
            <a:avLst/>
            <a:gdLst>
              <a:gd name="connsiteX0" fmla="*/ 1234623 w 1234623"/>
              <a:gd name="connsiteY0" fmla="*/ 0 h 843853"/>
              <a:gd name="connsiteX1" fmla="*/ 1234623 w 1234623"/>
              <a:gd name="connsiteY1" fmla="*/ 469758 h 843853"/>
              <a:gd name="connsiteX2" fmla="*/ 332726 w 1234623"/>
              <a:gd name="connsiteY2" fmla="*/ 843853 h 843853"/>
              <a:gd name="connsiteX3" fmla="*/ 0 w 1234623"/>
              <a:gd name="connsiteY3" fmla="*/ 511236 h 843853"/>
              <a:gd name="connsiteX4" fmla="*/ 107947 w 1234623"/>
              <a:gd name="connsiteY4" fmla="*/ 413127 h 843853"/>
              <a:gd name="connsiteX5" fmla="*/ 1077085 w 1234623"/>
              <a:gd name="connsiteY5" fmla="*/ 7955 h 843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4623" h="843853">
                <a:moveTo>
                  <a:pt x="1234623" y="0"/>
                </a:moveTo>
                <a:lnTo>
                  <a:pt x="1234623" y="469758"/>
                </a:lnTo>
                <a:cubicBezTo>
                  <a:pt x="885192" y="477096"/>
                  <a:pt x="568162" y="618215"/>
                  <a:pt x="332726" y="843853"/>
                </a:cubicBezTo>
                <a:lnTo>
                  <a:pt x="0" y="511236"/>
                </a:lnTo>
                <a:lnTo>
                  <a:pt x="107947" y="413127"/>
                </a:lnTo>
                <a:cubicBezTo>
                  <a:pt x="376922" y="191148"/>
                  <a:pt x="710919" y="45141"/>
                  <a:pt x="1077085" y="7955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solidFill>
                <a:schemeClr val="accent6"/>
              </a:solidFill>
            </a:endParaRPr>
          </a:p>
        </p:txBody>
      </p:sp>
      <p:sp>
        <p:nvSpPr>
          <p:cNvPr id="111" name="Freihandform: Form 110">
            <a:extLst>
              <a:ext uri="{FF2B5EF4-FFF2-40B4-BE49-F238E27FC236}">
                <a16:creationId xmlns:a16="http://schemas.microsoft.com/office/drawing/2014/main" id="{38883B96-9918-58ED-5FAE-8D18AB10060A}"/>
              </a:ext>
            </a:extLst>
          </p:cNvPr>
          <p:cNvSpPr>
            <a:spLocks/>
          </p:cNvSpPr>
          <p:nvPr/>
        </p:nvSpPr>
        <p:spPr>
          <a:xfrm rot="2707235">
            <a:off x="7068125" y="2694495"/>
            <a:ext cx="1452509" cy="993133"/>
          </a:xfrm>
          <a:custGeom>
            <a:avLst/>
            <a:gdLst>
              <a:gd name="connsiteX0" fmla="*/ 0 w 1234102"/>
              <a:gd name="connsiteY0" fmla="*/ 0 h 843801"/>
              <a:gd name="connsiteX1" fmla="*/ 156495 w 1234102"/>
              <a:gd name="connsiteY1" fmla="*/ 7903 h 843801"/>
              <a:gd name="connsiteX2" fmla="*/ 1125634 w 1234102"/>
              <a:gd name="connsiteY2" fmla="*/ 413075 h 843801"/>
              <a:gd name="connsiteX3" fmla="*/ 1234102 w 1234102"/>
              <a:gd name="connsiteY3" fmla="*/ 511657 h 843801"/>
              <a:gd name="connsiteX4" fmla="*/ 901898 w 1234102"/>
              <a:gd name="connsiteY4" fmla="*/ 843801 h 843801"/>
              <a:gd name="connsiteX5" fmla="*/ 0 w 1234102"/>
              <a:gd name="connsiteY5" fmla="*/ 469706 h 843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4102" h="843801">
                <a:moveTo>
                  <a:pt x="0" y="0"/>
                </a:moveTo>
                <a:lnTo>
                  <a:pt x="156495" y="7903"/>
                </a:lnTo>
                <a:cubicBezTo>
                  <a:pt x="522662" y="45089"/>
                  <a:pt x="856658" y="191096"/>
                  <a:pt x="1125634" y="413075"/>
                </a:cubicBezTo>
                <a:lnTo>
                  <a:pt x="1234102" y="511657"/>
                </a:lnTo>
                <a:lnTo>
                  <a:pt x="901898" y="843801"/>
                </a:lnTo>
                <a:cubicBezTo>
                  <a:pt x="666461" y="618163"/>
                  <a:pt x="349437" y="477044"/>
                  <a:pt x="0" y="469706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solidFill>
                <a:schemeClr val="accent6"/>
              </a:solidFill>
            </a:endParaRPr>
          </a:p>
        </p:txBody>
      </p:sp>
      <p:sp>
        <p:nvSpPr>
          <p:cNvPr id="112" name="Freihandform: Form 111">
            <a:extLst>
              <a:ext uri="{FF2B5EF4-FFF2-40B4-BE49-F238E27FC236}">
                <a16:creationId xmlns:a16="http://schemas.microsoft.com/office/drawing/2014/main" id="{8B6BBF41-29C7-679F-5B47-6F37C2A00E48}"/>
              </a:ext>
            </a:extLst>
          </p:cNvPr>
          <p:cNvSpPr>
            <a:spLocks/>
          </p:cNvSpPr>
          <p:nvPr/>
        </p:nvSpPr>
        <p:spPr>
          <a:xfrm rot="2707235">
            <a:off x="7295488" y="3708128"/>
            <a:ext cx="991637" cy="1451968"/>
          </a:xfrm>
          <a:custGeom>
            <a:avLst/>
            <a:gdLst>
              <a:gd name="connsiteX0" fmla="*/ 332154 w 842529"/>
              <a:gd name="connsiteY0" fmla="*/ 0 h 1233643"/>
              <a:gd name="connsiteX1" fmla="*/ 429404 w 842529"/>
              <a:gd name="connsiteY1" fmla="*/ 107002 h 1233643"/>
              <a:gd name="connsiteX2" fmla="*/ 834576 w 842529"/>
              <a:gd name="connsiteY2" fmla="*/ 1076140 h 1233643"/>
              <a:gd name="connsiteX3" fmla="*/ 842529 w 842529"/>
              <a:gd name="connsiteY3" fmla="*/ 1233643 h 1233643"/>
              <a:gd name="connsiteX4" fmla="*/ 374215 w 842529"/>
              <a:gd name="connsiteY4" fmla="*/ 1233643 h 1233643"/>
              <a:gd name="connsiteX5" fmla="*/ 0 w 842529"/>
              <a:gd name="connsiteY5" fmla="*/ 332044 h 1233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2529" h="1233643">
                <a:moveTo>
                  <a:pt x="332154" y="0"/>
                </a:moveTo>
                <a:lnTo>
                  <a:pt x="429404" y="107002"/>
                </a:lnTo>
                <a:cubicBezTo>
                  <a:pt x="651382" y="375977"/>
                  <a:pt x="797389" y="709973"/>
                  <a:pt x="834576" y="1076140"/>
                </a:cubicBezTo>
                <a:lnTo>
                  <a:pt x="842529" y="1233643"/>
                </a:lnTo>
                <a:lnTo>
                  <a:pt x="374215" y="1233643"/>
                </a:lnTo>
                <a:cubicBezTo>
                  <a:pt x="366876" y="884324"/>
                  <a:pt x="225710" y="567401"/>
                  <a:pt x="0" y="332044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solidFill>
                <a:schemeClr val="accent6"/>
              </a:solidFill>
            </a:endParaRPr>
          </a:p>
        </p:txBody>
      </p:sp>
      <p:sp>
        <p:nvSpPr>
          <p:cNvPr id="113" name="Freihandform: Form 112">
            <a:extLst>
              <a:ext uri="{FF2B5EF4-FFF2-40B4-BE49-F238E27FC236}">
                <a16:creationId xmlns:a16="http://schemas.microsoft.com/office/drawing/2014/main" id="{82E51C28-2D81-D643-C8F4-8E59375A4158}"/>
              </a:ext>
            </a:extLst>
          </p:cNvPr>
          <p:cNvSpPr>
            <a:spLocks/>
          </p:cNvSpPr>
          <p:nvPr/>
        </p:nvSpPr>
        <p:spPr>
          <a:xfrm rot="2707235">
            <a:off x="6219149" y="4780202"/>
            <a:ext cx="991581" cy="1451434"/>
          </a:xfrm>
          <a:custGeom>
            <a:avLst/>
            <a:gdLst>
              <a:gd name="connsiteX0" fmla="*/ 374215 w 842481"/>
              <a:gd name="connsiteY0" fmla="*/ 0 h 1233189"/>
              <a:gd name="connsiteX1" fmla="*/ 842481 w 842481"/>
              <a:gd name="connsiteY1" fmla="*/ 0 h 1233189"/>
              <a:gd name="connsiteX2" fmla="*/ 834576 w 842481"/>
              <a:gd name="connsiteY2" fmla="*/ 156549 h 1233189"/>
              <a:gd name="connsiteX3" fmla="*/ 429404 w 842481"/>
              <a:gd name="connsiteY3" fmla="*/ 1125688 h 1233189"/>
              <a:gd name="connsiteX4" fmla="*/ 331700 w 842481"/>
              <a:gd name="connsiteY4" fmla="*/ 1233189 h 1233189"/>
              <a:gd name="connsiteX5" fmla="*/ 0 w 842481"/>
              <a:gd name="connsiteY5" fmla="*/ 901598 h 1233189"/>
              <a:gd name="connsiteX6" fmla="*/ 374215 w 842481"/>
              <a:gd name="connsiteY6" fmla="*/ 0 h 1233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42481" h="1233189">
                <a:moveTo>
                  <a:pt x="374215" y="0"/>
                </a:moveTo>
                <a:lnTo>
                  <a:pt x="842481" y="0"/>
                </a:lnTo>
                <a:lnTo>
                  <a:pt x="834576" y="156549"/>
                </a:lnTo>
                <a:cubicBezTo>
                  <a:pt x="797389" y="522716"/>
                  <a:pt x="651382" y="856712"/>
                  <a:pt x="429404" y="1125688"/>
                </a:cubicBezTo>
                <a:lnTo>
                  <a:pt x="331700" y="1233189"/>
                </a:lnTo>
                <a:lnTo>
                  <a:pt x="0" y="901598"/>
                </a:lnTo>
                <a:cubicBezTo>
                  <a:pt x="225710" y="666242"/>
                  <a:pt x="366876" y="349319"/>
                  <a:pt x="374215" y="0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solidFill>
                <a:schemeClr val="accent6"/>
              </a:solidFill>
            </a:endParaRPr>
          </a:p>
        </p:txBody>
      </p:sp>
      <p:sp>
        <p:nvSpPr>
          <p:cNvPr id="114" name="Freihandform: Form 113">
            <a:extLst>
              <a:ext uri="{FF2B5EF4-FFF2-40B4-BE49-F238E27FC236}">
                <a16:creationId xmlns:a16="http://schemas.microsoft.com/office/drawing/2014/main" id="{3BE6376B-9670-12AA-E43C-62EC295D1872}"/>
              </a:ext>
            </a:extLst>
          </p:cNvPr>
          <p:cNvSpPr>
            <a:spLocks/>
          </p:cNvSpPr>
          <p:nvPr/>
        </p:nvSpPr>
        <p:spPr>
          <a:xfrm rot="2707235">
            <a:off x="3673406" y="3930613"/>
            <a:ext cx="1452536" cy="992074"/>
          </a:xfrm>
          <a:custGeom>
            <a:avLst/>
            <a:gdLst>
              <a:gd name="connsiteX0" fmla="*/ 332227 w 1234124"/>
              <a:gd name="connsiteY0" fmla="*/ 0 h 842900"/>
              <a:gd name="connsiteX1" fmla="*/ 1234124 w 1234124"/>
              <a:gd name="connsiteY1" fmla="*/ 374093 h 842900"/>
              <a:gd name="connsiteX2" fmla="*/ 1234124 w 1234124"/>
              <a:gd name="connsiteY2" fmla="*/ 842900 h 842900"/>
              <a:gd name="connsiteX3" fmla="*/ 1076586 w 1234124"/>
              <a:gd name="connsiteY3" fmla="*/ 834945 h 842900"/>
              <a:gd name="connsiteX4" fmla="*/ 107448 w 1234124"/>
              <a:gd name="connsiteY4" fmla="*/ 429773 h 842900"/>
              <a:gd name="connsiteX5" fmla="*/ 0 w 1234124"/>
              <a:gd name="connsiteY5" fmla="*/ 332118 h 84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34124" h="842900">
                <a:moveTo>
                  <a:pt x="332227" y="0"/>
                </a:moveTo>
                <a:cubicBezTo>
                  <a:pt x="567663" y="225638"/>
                  <a:pt x="884693" y="366757"/>
                  <a:pt x="1234124" y="374093"/>
                </a:cubicBezTo>
                <a:lnTo>
                  <a:pt x="1234124" y="842900"/>
                </a:lnTo>
                <a:lnTo>
                  <a:pt x="1076586" y="834945"/>
                </a:lnTo>
                <a:cubicBezTo>
                  <a:pt x="710420" y="797758"/>
                  <a:pt x="376423" y="651751"/>
                  <a:pt x="107448" y="429773"/>
                </a:cubicBezTo>
                <a:lnTo>
                  <a:pt x="0" y="332118"/>
                </a:ln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solidFill>
                <a:schemeClr val="accent6"/>
              </a:solidFill>
            </a:endParaRPr>
          </a:p>
        </p:txBody>
      </p:sp>
      <p:sp>
        <p:nvSpPr>
          <p:cNvPr id="115" name="Freihandform: Form 114">
            <a:extLst>
              <a:ext uri="{FF2B5EF4-FFF2-40B4-BE49-F238E27FC236}">
                <a16:creationId xmlns:a16="http://schemas.microsoft.com/office/drawing/2014/main" id="{EF328FBD-F9CF-75B3-4C5C-F3A26358F84D}"/>
              </a:ext>
            </a:extLst>
          </p:cNvPr>
          <p:cNvSpPr>
            <a:spLocks/>
          </p:cNvSpPr>
          <p:nvPr/>
        </p:nvSpPr>
        <p:spPr>
          <a:xfrm rot="2707235">
            <a:off x="3905562" y="2457539"/>
            <a:ext cx="992697" cy="1452020"/>
          </a:xfrm>
          <a:custGeom>
            <a:avLst/>
            <a:gdLst>
              <a:gd name="connsiteX0" fmla="*/ 0 w 843430"/>
              <a:gd name="connsiteY0" fmla="*/ 0 h 1233687"/>
              <a:gd name="connsiteX1" fmla="*/ 469215 w 843430"/>
              <a:gd name="connsiteY1" fmla="*/ 0 h 1233687"/>
              <a:gd name="connsiteX2" fmla="*/ 843430 w 843430"/>
              <a:gd name="connsiteY2" fmla="*/ 901598 h 1233687"/>
              <a:gd name="connsiteX3" fmla="*/ 511233 w 843430"/>
              <a:gd name="connsiteY3" fmla="*/ 1233687 h 1233687"/>
              <a:gd name="connsiteX4" fmla="*/ 413077 w 843430"/>
              <a:gd name="connsiteY4" fmla="*/ 1125688 h 1233687"/>
              <a:gd name="connsiteX5" fmla="*/ 7905 w 843430"/>
              <a:gd name="connsiteY5" fmla="*/ 156549 h 123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3430" h="1233687">
                <a:moveTo>
                  <a:pt x="0" y="0"/>
                </a:moveTo>
                <a:lnTo>
                  <a:pt x="469215" y="0"/>
                </a:lnTo>
                <a:cubicBezTo>
                  <a:pt x="476554" y="349319"/>
                  <a:pt x="617720" y="666242"/>
                  <a:pt x="843430" y="901598"/>
                </a:cubicBezTo>
                <a:lnTo>
                  <a:pt x="511233" y="1233687"/>
                </a:lnTo>
                <a:lnTo>
                  <a:pt x="413077" y="1125688"/>
                </a:lnTo>
                <a:cubicBezTo>
                  <a:pt x="191099" y="856712"/>
                  <a:pt x="45091" y="522716"/>
                  <a:pt x="7905" y="156549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solidFill>
                <a:schemeClr val="accent6"/>
              </a:solidFill>
            </a:endParaRPr>
          </a:p>
        </p:txBody>
      </p:sp>
      <p:sp>
        <p:nvSpPr>
          <p:cNvPr id="116" name="Freihandform: Form 115">
            <a:extLst>
              <a:ext uri="{FF2B5EF4-FFF2-40B4-BE49-F238E27FC236}">
                <a16:creationId xmlns:a16="http://schemas.microsoft.com/office/drawing/2014/main" id="{EF42B780-722F-0E31-8AA7-F91B0AEB7549}"/>
              </a:ext>
            </a:extLst>
          </p:cNvPr>
          <p:cNvSpPr>
            <a:spLocks/>
          </p:cNvSpPr>
          <p:nvPr/>
        </p:nvSpPr>
        <p:spPr>
          <a:xfrm rot="2707235">
            <a:off x="4982281" y="1385002"/>
            <a:ext cx="992870" cy="1452614"/>
          </a:xfrm>
          <a:custGeom>
            <a:avLst/>
            <a:gdLst>
              <a:gd name="connsiteX0" fmla="*/ 510872 w 843576"/>
              <a:gd name="connsiteY0" fmla="*/ 0 h 1234191"/>
              <a:gd name="connsiteX1" fmla="*/ 843576 w 843576"/>
              <a:gd name="connsiteY1" fmla="*/ 332592 h 1234191"/>
              <a:gd name="connsiteX2" fmla="*/ 469356 w 843576"/>
              <a:gd name="connsiteY2" fmla="*/ 1234191 h 1234191"/>
              <a:gd name="connsiteX3" fmla="*/ 0 w 843576"/>
              <a:gd name="connsiteY3" fmla="*/ 1234191 h 1234191"/>
              <a:gd name="connsiteX4" fmla="*/ 7953 w 843576"/>
              <a:gd name="connsiteY4" fmla="*/ 1076688 h 1234191"/>
              <a:gd name="connsiteX5" fmla="*/ 413125 w 843576"/>
              <a:gd name="connsiteY5" fmla="*/ 107550 h 1234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3576" h="1234191">
                <a:moveTo>
                  <a:pt x="510872" y="0"/>
                </a:moveTo>
                <a:lnTo>
                  <a:pt x="843576" y="332592"/>
                </a:lnTo>
                <a:cubicBezTo>
                  <a:pt x="617861" y="567949"/>
                  <a:pt x="476695" y="884872"/>
                  <a:pt x="469356" y="1234191"/>
                </a:cubicBezTo>
                <a:lnTo>
                  <a:pt x="0" y="1234191"/>
                </a:lnTo>
                <a:lnTo>
                  <a:pt x="7953" y="1076688"/>
                </a:lnTo>
                <a:cubicBezTo>
                  <a:pt x="45139" y="710521"/>
                  <a:pt x="191147" y="376525"/>
                  <a:pt x="413125" y="107550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solidFill>
                <a:schemeClr val="accent6"/>
              </a:solidFill>
            </a:endParaRPr>
          </a:p>
        </p:txBody>
      </p:sp>
      <p:sp>
        <p:nvSpPr>
          <p:cNvPr id="117" name="Freihandform: Form 116">
            <a:extLst>
              <a:ext uri="{FF2B5EF4-FFF2-40B4-BE49-F238E27FC236}">
                <a16:creationId xmlns:a16="http://schemas.microsoft.com/office/drawing/2014/main" id="{2E300FF1-9095-52EA-D581-6D21775A1E52}"/>
              </a:ext>
            </a:extLst>
          </p:cNvPr>
          <p:cNvSpPr>
            <a:spLocks/>
          </p:cNvSpPr>
          <p:nvPr/>
        </p:nvSpPr>
        <p:spPr>
          <a:xfrm>
            <a:off x="6485308" y="2172179"/>
            <a:ext cx="434528" cy="434524"/>
          </a:xfrm>
          <a:custGeom>
            <a:avLst/>
            <a:gdLst>
              <a:gd name="connsiteX0" fmla="*/ 0 w 1230793"/>
              <a:gd name="connsiteY0" fmla="*/ 615397 h 1230793"/>
              <a:gd name="connsiteX1" fmla="*/ 615397 w 1230793"/>
              <a:gd name="connsiteY1" fmla="*/ 0 h 1230793"/>
              <a:gd name="connsiteX2" fmla="*/ 1230794 w 1230793"/>
              <a:gd name="connsiteY2" fmla="*/ 615397 h 1230793"/>
              <a:gd name="connsiteX3" fmla="*/ 615397 w 1230793"/>
              <a:gd name="connsiteY3" fmla="*/ 1230794 h 1230793"/>
              <a:gd name="connsiteX4" fmla="*/ 0 w 1230793"/>
              <a:gd name="connsiteY4" fmla="*/ 615397 h 1230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30793" h="1230793">
                <a:moveTo>
                  <a:pt x="0" y="615397"/>
                </a:moveTo>
                <a:cubicBezTo>
                  <a:pt x="0" y="275523"/>
                  <a:pt x="275523" y="0"/>
                  <a:pt x="615397" y="0"/>
                </a:cubicBezTo>
                <a:cubicBezTo>
                  <a:pt x="955271" y="0"/>
                  <a:pt x="1230794" y="275523"/>
                  <a:pt x="1230794" y="615397"/>
                </a:cubicBezTo>
                <a:cubicBezTo>
                  <a:pt x="1230794" y="955271"/>
                  <a:pt x="955271" y="1230794"/>
                  <a:pt x="615397" y="1230794"/>
                </a:cubicBezTo>
                <a:cubicBezTo>
                  <a:pt x="275523" y="1230794"/>
                  <a:pt x="0" y="955271"/>
                  <a:pt x="0" y="615397"/>
                </a:cubicBezTo>
                <a:close/>
              </a:path>
            </a:pathLst>
          </a:custGeom>
          <a:solidFill>
            <a:schemeClr val="accent1"/>
          </a:solidFill>
          <a:ln w="28575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198025" tIns="198025" rIns="198025" bIns="198025" numCol="1" spcCol="1270" anchor="ctr" anchorCtr="0">
            <a:noAutofit/>
          </a:bodyPr>
          <a:lstStyle/>
          <a:p>
            <a:pPr marL="0" lvl="0" indent="0" algn="ctr" defTabSz="1244600"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600" kern="1200"/>
              <a:t>01</a:t>
            </a:r>
          </a:p>
        </p:txBody>
      </p:sp>
      <p:sp>
        <p:nvSpPr>
          <p:cNvPr id="118" name="Freihandform: Form 117">
            <a:extLst>
              <a:ext uri="{FF2B5EF4-FFF2-40B4-BE49-F238E27FC236}">
                <a16:creationId xmlns:a16="http://schemas.microsoft.com/office/drawing/2014/main" id="{547A84DB-30BE-7AF4-882D-A00521E83BAE}"/>
              </a:ext>
            </a:extLst>
          </p:cNvPr>
          <p:cNvSpPr>
            <a:spLocks/>
          </p:cNvSpPr>
          <p:nvPr/>
        </p:nvSpPr>
        <p:spPr>
          <a:xfrm>
            <a:off x="7311113" y="3016068"/>
            <a:ext cx="434528" cy="434524"/>
          </a:xfrm>
          <a:custGeom>
            <a:avLst/>
            <a:gdLst>
              <a:gd name="connsiteX0" fmla="*/ 0 w 1230793"/>
              <a:gd name="connsiteY0" fmla="*/ 615397 h 1230793"/>
              <a:gd name="connsiteX1" fmla="*/ 615397 w 1230793"/>
              <a:gd name="connsiteY1" fmla="*/ 0 h 1230793"/>
              <a:gd name="connsiteX2" fmla="*/ 1230794 w 1230793"/>
              <a:gd name="connsiteY2" fmla="*/ 615397 h 1230793"/>
              <a:gd name="connsiteX3" fmla="*/ 615397 w 1230793"/>
              <a:gd name="connsiteY3" fmla="*/ 1230794 h 1230793"/>
              <a:gd name="connsiteX4" fmla="*/ 0 w 1230793"/>
              <a:gd name="connsiteY4" fmla="*/ 615397 h 1230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30793" h="1230793">
                <a:moveTo>
                  <a:pt x="0" y="615397"/>
                </a:moveTo>
                <a:cubicBezTo>
                  <a:pt x="0" y="275523"/>
                  <a:pt x="275523" y="0"/>
                  <a:pt x="615397" y="0"/>
                </a:cubicBezTo>
                <a:cubicBezTo>
                  <a:pt x="955271" y="0"/>
                  <a:pt x="1230794" y="275523"/>
                  <a:pt x="1230794" y="615397"/>
                </a:cubicBezTo>
                <a:cubicBezTo>
                  <a:pt x="1230794" y="955271"/>
                  <a:pt x="955271" y="1230794"/>
                  <a:pt x="615397" y="1230794"/>
                </a:cubicBezTo>
                <a:cubicBezTo>
                  <a:pt x="275523" y="1230794"/>
                  <a:pt x="0" y="955271"/>
                  <a:pt x="0" y="615397"/>
                </a:cubicBezTo>
                <a:close/>
              </a:path>
            </a:pathLst>
          </a:custGeom>
          <a:solidFill>
            <a:schemeClr val="accent1"/>
          </a:solidFill>
          <a:ln w="28575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198025" tIns="198025" rIns="198025" bIns="198025" numCol="1" spcCol="1270" anchor="ctr" anchorCtr="0">
            <a:noAutofit/>
          </a:bodyPr>
          <a:lstStyle/>
          <a:p>
            <a:pPr marL="0" lvl="0" indent="0" algn="ctr" defTabSz="1244600"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600" kern="1200"/>
              <a:t>02</a:t>
            </a:r>
          </a:p>
        </p:txBody>
      </p:sp>
      <p:sp>
        <p:nvSpPr>
          <p:cNvPr id="119" name="Freihandform: Form 118">
            <a:extLst>
              <a:ext uri="{FF2B5EF4-FFF2-40B4-BE49-F238E27FC236}">
                <a16:creationId xmlns:a16="http://schemas.microsoft.com/office/drawing/2014/main" id="{17EC59F3-F3F0-BC37-6A06-DA3D883336EF}"/>
              </a:ext>
            </a:extLst>
          </p:cNvPr>
          <p:cNvSpPr>
            <a:spLocks/>
          </p:cNvSpPr>
          <p:nvPr/>
        </p:nvSpPr>
        <p:spPr>
          <a:xfrm>
            <a:off x="7298325" y="4196721"/>
            <a:ext cx="434528" cy="434524"/>
          </a:xfrm>
          <a:custGeom>
            <a:avLst/>
            <a:gdLst>
              <a:gd name="connsiteX0" fmla="*/ 0 w 1230793"/>
              <a:gd name="connsiteY0" fmla="*/ 615397 h 1230793"/>
              <a:gd name="connsiteX1" fmla="*/ 615397 w 1230793"/>
              <a:gd name="connsiteY1" fmla="*/ 0 h 1230793"/>
              <a:gd name="connsiteX2" fmla="*/ 1230794 w 1230793"/>
              <a:gd name="connsiteY2" fmla="*/ 615397 h 1230793"/>
              <a:gd name="connsiteX3" fmla="*/ 615397 w 1230793"/>
              <a:gd name="connsiteY3" fmla="*/ 1230794 h 1230793"/>
              <a:gd name="connsiteX4" fmla="*/ 0 w 1230793"/>
              <a:gd name="connsiteY4" fmla="*/ 615397 h 1230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30793" h="1230793">
                <a:moveTo>
                  <a:pt x="0" y="615397"/>
                </a:moveTo>
                <a:cubicBezTo>
                  <a:pt x="0" y="275523"/>
                  <a:pt x="275523" y="0"/>
                  <a:pt x="615397" y="0"/>
                </a:cubicBezTo>
                <a:cubicBezTo>
                  <a:pt x="955271" y="0"/>
                  <a:pt x="1230794" y="275523"/>
                  <a:pt x="1230794" y="615397"/>
                </a:cubicBezTo>
                <a:cubicBezTo>
                  <a:pt x="1230794" y="955271"/>
                  <a:pt x="955271" y="1230794"/>
                  <a:pt x="615397" y="1230794"/>
                </a:cubicBezTo>
                <a:cubicBezTo>
                  <a:pt x="275523" y="1230794"/>
                  <a:pt x="0" y="955271"/>
                  <a:pt x="0" y="615397"/>
                </a:cubicBezTo>
                <a:close/>
              </a:path>
            </a:pathLst>
          </a:custGeom>
          <a:solidFill>
            <a:schemeClr val="accent1"/>
          </a:solidFill>
          <a:ln w="28575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198025" tIns="198025" rIns="198025" bIns="198025" numCol="1" spcCol="1270" anchor="ctr" anchorCtr="0">
            <a:noAutofit/>
          </a:bodyPr>
          <a:lstStyle/>
          <a:p>
            <a:pPr marL="0" lvl="0" indent="0" algn="ctr" defTabSz="1244600"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600" kern="1200"/>
              <a:t>03</a:t>
            </a:r>
          </a:p>
        </p:txBody>
      </p:sp>
      <p:sp>
        <p:nvSpPr>
          <p:cNvPr id="120" name="Freihandform: Form 119">
            <a:extLst>
              <a:ext uri="{FF2B5EF4-FFF2-40B4-BE49-F238E27FC236}">
                <a16:creationId xmlns:a16="http://schemas.microsoft.com/office/drawing/2014/main" id="{9F453E67-9829-14DC-1F57-0348D322CEE3}"/>
              </a:ext>
            </a:extLst>
          </p:cNvPr>
          <p:cNvSpPr>
            <a:spLocks/>
          </p:cNvSpPr>
          <p:nvPr/>
        </p:nvSpPr>
        <p:spPr>
          <a:xfrm>
            <a:off x="6454435" y="5022524"/>
            <a:ext cx="434528" cy="434524"/>
          </a:xfrm>
          <a:custGeom>
            <a:avLst/>
            <a:gdLst>
              <a:gd name="connsiteX0" fmla="*/ 0 w 1230793"/>
              <a:gd name="connsiteY0" fmla="*/ 615397 h 1230793"/>
              <a:gd name="connsiteX1" fmla="*/ 615397 w 1230793"/>
              <a:gd name="connsiteY1" fmla="*/ 0 h 1230793"/>
              <a:gd name="connsiteX2" fmla="*/ 1230794 w 1230793"/>
              <a:gd name="connsiteY2" fmla="*/ 615397 h 1230793"/>
              <a:gd name="connsiteX3" fmla="*/ 615397 w 1230793"/>
              <a:gd name="connsiteY3" fmla="*/ 1230794 h 1230793"/>
              <a:gd name="connsiteX4" fmla="*/ 0 w 1230793"/>
              <a:gd name="connsiteY4" fmla="*/ 615397 h 1230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30793" h="1230793">
                <a:moveTo>
                  <a:pt x="0" y="615397"/>
                </a:moveTo>
                <a:cubicBezTo>
                  <a:pt x="0" y="275523"/>
                  <a:pt x="275523" y="0"/>
                  <a:pt x="615397" y="0"/>
                </a:cubicBezTo>
                <a:cubicBezTo>
                  <a:pt x="955271" y="0"/>
                  <a:pt x="1230794" y="275523"/>
                  <a:pt x="1230794" y="615397"/>
                </a:cubicBezTo>
                <a:cubicBezTo>
                  <a:pt x="1230794" y="955271"/>
                  <a:pt x="955271" y="1230794"/>
                  <a:pt x="615397" y="1230794"/>
                </a:cubicBezTo>
                <a:cubicBezTo>
                  <a:pt x="275523" y="1230794"/>
                  <a:pt x="0" y="955271"/>
                  <a:pt x="0" y="615397"/>
                </a:cubicBezTo>
                <a:close/>
              </a:path>
            </a:pathLst>
          </a:custGeom>
          <a:solidFill>
            <a:schemeClr val="accent1"/>
          </a:solidFill>
          <a:ln w="28575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198025" tIns="198025" rIns="198025" bIns="198025" numCol="1" spcCol="1270" anchor="ctr" anchorCtr="0">
            <a:noAutofit/>
          </a:bodyPr>
          <a:lstStyle/>
          <a:p>
            <a:pPr marL="0" lvl="0" indent="0" algn="ctr" defTabSz="1244600"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600" kern="1200"/>
              <a:t>04</a:t>
            </a:r>
          </a:p>
        </p:txBody>
      </p:sp>
      <p:sp>
        <p:nvSpPr>
          <p:cNvPr id="121" name="Freihandform: Form 120">
            <a:extLst>
              <a:ext uri="{FF2B5EF4-FFF2-40B4-BE49-F238E27FC236}">
                <a16:creationId xmlns:a16="http://schemas.microsoft.com/office/drawing/2014/main" id="{E21904DB-DECF-8FA6-74A4-031F32ED2D7F}"/>
              </a:ext>
            </a:extLst>
          </p:cNvPr>
          <p:cNvSpPr>
            <a:spLocks/>
          </p:cNvSpPr>
          <p:nvPr/>
        </p:nvSpPr>
        <p:spPr>
          <a:xfrm>
            <a:off x="5273783" y="5009736"/>
            <a:ext cx="434528" cy="434524"/>
          </a:xfrm>
          <a:custGeom>
            <a:avLst/>
            <a:gdLst>
              <a:gd name="connsiteX0" fmla="*/ 0 w 1230793"/>
              <a:gd name="connsiteY0" fmla="*/ 615397 h 1230793"/>
              <a:gd name="connsiteX1" fmla="*/ 615397 w 1230793"/>
              <a:gd name="connsiteY1" fmla="*/ 0 h 1230793"/>
              <a:gd name="connsiteX2" fmla="*/ 1230794 w 1230793"/>
              <a:gd name="connsiteY2" fmla="*/ 615397 h 1230793"/>
              <a:gd name="connsiteX3" fmla="*/ 615397 w 1230793"/>
              <a:gd name="connsiteY3" fmla="*/ 1230794 h 1230793"/>
              <a:gd name="connsiteX4" fmla="*/ 0 w 1230793"/>
              <a:gd name="connsiteY4" fmla="*/ 615397 h 1230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30793" h="1230793">
                <a:moveTo>
                  <a:pt x="0" y="615397"/>
                </a:moveTo>
                <a:cubicBezTo>
                  <a:pt x="0" y="275523"/>
                  <a:pt x="275523" y="0"/>
                  <a:pt x="615397" y="0"/>
                </a:cubicBezTo>
                <a:cubicBezTo>
                  <a:pt x="955271" y="0"/>
                  <a:pt x="1230794" y="275523"/>
                  <a:pt x="1230794" y="615397"/>
                </a:cubicBezTo>
                <a:cubicBezTo>
                  <a:pt x="1230794" y="955271"/>
                  <a:pt x="955271" y="1230794"/>
                  <a:pt x="615397" y="1230794"/>
                </a:cubicBezTo>
                <a:cubicBezTo>
                  <a:pt x="275523" y="1230794"/>
                  <a:pt x="0" y="955271"/>
                  <a:pt x="0" y="615397"/>
                </a:cubicBezTo>
                <a:close/>
              </a:path>
            </a:pathLst>
          </a:custGeom>
          <a:solidFill>
            <a:schemeClr val="accent1"/>
          </a:solidFill>
          <a:ln w="28575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213265" tIns="213265" rIns="213265" bIns="213265" numCol="1" spcCol="1270" anchor="ctr" anchorCtr="0">
            <a:noAutofit/>
          </a:bodyPr>
          <a:lstStyle/>
          <a:p>
            <a:pPr marL="0" lvl="0" indent="0" algn="ctr" defTabSz="2311400"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600" kern="1200"/>
              <a:t>05</a:t>
            </a:r>
          </a:p>
        </p:txBody>
      </p:sp>
      <p:sp>
        <p:nvSpPr>
          <p:cNvPr id="122" name="Freihandform: Form 121">
            <a:extLst>
              <a:ext uri="{FF2B5EF4-FFF2-40B4-BE49-F238E27FC236}">
                <a16:creationId xmlns:a16="http://schemas.microsoft.com/office/drawing/2014/main" id="{5E0C49A0-DD15-9995-56EB-0B3297B9F418}"/>
              </a:ext>
            </a:extLst>
          </p:cNvPr>
          <p:cNvSpPr>
            <a:spLocks/>
          </p:cNvSpPr>
          <p:nvPr/>
        </p:nvSpPr>
        <p:spPr>
          <a:xfrm>
            <a:off x="4447979" y="4165846"/>
            <a:ext cx="434528" cy="434524"/>
          </a:xfrm>
          <a:custGeom>
            <a:avLst/>
            <a:gdLst>
              <a:gd name="connsiteX0" fmla="*/ 0 w 1230793"/>
              <a:gd name="connsiteY0" fmla="*/ 615397 h 1230793"/>
              <a:gd name="connsiteX1" fmla="*/ 615397 w 1230793"/>
              <a:gd name="connsiteY1" fmla="*/ 0 h 1230793"/>
              <a:gd name="connsiteX2" fmla="*/ 1230794 w 1230793"/>
              <a:gd name="connsiteY2" fmla="*/ 615397 h 1230793"/>
              <a:gd name="connsiteX3" fmla="*/ 615397 w 1230793"/>
              <a:gd name="connsiteY3" fmla="*/ 1230794 h 1230793"/>
              <a:gd name="connsiteX4" fmla="*/ 0 w 1230793"/>
              <a:gd name="connsiteY4" fmla="*/ 615397 h 1230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30793" h="1230793">
                <a:moveTo>
                  <a:pt x="0" y="615397"/>
                </a:moveTo>
                <a:cubicBezTo>
                  <a:pt x="0" y="275523"/>
                  <a:pt x="275523" y="0"/>
                  <a:pt x="615397" y="0"/>
                </a:cubicBezTo>
                <a:cubicBezTo>
                  <a:pt x="955271" y="0"/>
                  <a:pt x="1230794" y="275523"/>
                  <a:pt x="1230794" y="615397"/>
                </a:cubicBezTo>
                <a:cubicBezTo>
                  <a:pt x="1230794" y="955271"/>
                  <a:pt x="955271" y="1230794"/>
                  <a:pt x="615397" y="1230794"/>
                </a:cubicBezTo>
                <a:cubicBezTo>
                  <a:pt x="275523" y="1230794"/>
                  <a:pt x="0" y="955271"/>
                  <a:pt x="0" y="615397"/>
                </a:cubicBezTo>
                <a:close/>
              </a:path>
            </a:pathLst>
          </a:custGeom>
          <a:solidFill>
            <a:schemeClr val="accent1"/>
          </a:solidFill>
          <a:ln w="28575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213265" tIns="213265" rIns="213265" bIns="213265" numCol="1" spcCol="1270" anchor="ctr" anchorCtr="0">
            <a:noAutofit/>
          </a:bodyPr>
          <a:lstStyle/>
          <a:p>
            <a:pPr marL="0" lvl="0" indent="0" algn="ctr" defTabSz="2311400"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600" kern="1200"/>
              <a:t>06</a:t>
            </a:r>
          </a:p>
        </p:txBody>
      </p:sp>
      <p:sp>
        <p:nvSpPr>
          <p:cNvPr id="123" name="Freihandform: Form 122">
            <a:extLst>
              <a:ext uri="{FF2B5EF4-FFF2-40B4-BE49-F238E27FC236}">
                <a16:creationId xmlns:a16="http://schemas.microsoft.com/office/drawing/2014/main" id="{188ADD73-A52E-E8A0-C75A-9E910FD3B1B0}"/>
              </a:ext>
            </a:extLst>
          </p:cNvPr>
          <p:cNvSpPr>
            <a:spLocks/>
          </p:cNvSpPr>
          <p:nvPr/>
        </p:nvSpPr>
        <p:spPr>
          <a:xfrm>
            <a:off x="4460766" y="2985195"/>
            <a:ext cx="434528" cy="434524"/>
          </a:xfrm>
          <a:custGeom>
            <a:avLst/>
            <a:gdLst>
              <a:gd name="connsiteX0" fmla="*/ 0 w 1230793"/>
              <a:gd name="connsiteY0" fmla="*/ 615397 h 1230793"/>
              <a:gd name="connsiteX1" fmla="*/ 615397 w 1230793"/>
              <a:gd name="connsiteY1" fmla="*/ 0 h 1230793"/>
              <a:gd name="connsiteX2" fmla="*/ 1230794 w 1230793"/>
              <a:gd name="connsiteY2" fmla="*/ 615397 h 1230793"/>
              <a:gd name="connsiteX3" fmla="*/ 615397 w 1230793"/>
              <a:gd name="connsiteY3" fmla="*/ 1230794 h 1230793"/>
              <a:gd name="connsiteX4" fmla="*/ 0 w 1230793"/>
              <a:gd name="connsiteY4" fmla="*/ 615397 h 1230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30793" h="1230793">
                <a:moveTo>
                  <a:pt x="0" y="615397"/>
                </a:moveTo>
                <a:cubicBezTo>
                  <a:pt x="0" y="275523"/>
                  <a:pt x="275523" y="0"/>
                  <a:pt x="615397" y="0"/>
                </a:cubicBezTo>
                <a:cubicBezTo>
                  <a:pt x="955271" y="0"/>
                  <a:pt x="1230794" y="275523"/>
                  <a:pt x="1230794" y="615397"/>
                </a:cubicBezTo>
                <a:cubicBezTo>
                  <a:pt x="1230794" y="955271"/>
                  <a:pt x="955271" y="1230794"/>
                  <a:pt x="615397" y="1230794"/>
                </a:cubicBezTo>
                <a:cubicBezTo>
                  <a:pt x="275523" y="1230794"/>
                  <a:pt x="0" y="955271"/>
                  <a:pt x="0" y="615397"/>
                </a:cubicBezTo>
                <a:close/>
              </a:path>
            </a:pathLst>
          </a:custGeom>
          <a:solidFill>
            <a:schemeClr val="accent1"/>
          </a:solidFill>
          <a:ln w="28575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213265" tIns="213265" rIns="213265" bIns="213265" numCol="1" spcCol="1270" anchor="ctr" anchorCtr="0">
            <a:noAutofit/>
          </a:bodyPr>
          <a:lstStyle/>
          <a:p>
            <a:pPr marL="0" lvl="0" indent="0" algn="ctr" defTabSz="2311400"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600" kern="1200"/>
              <a:t>07</a:t>
            </a:r>
          </a:p>
        </p:txBody>
      </p:sp>
      <p:sp>
        <p:nvSpPr>
          <p:cNvPr id="124" name="Freihandform: Form 123">
            <a:extLst>
              <a:ext uri="{FF2B5EF4-FFF2-40B4-BE49-F238E27FC236}">
                <a16:creationId xmlns:a16="http://schemas.microsoft.com/office/drawing/2014/main" id="{486F36B4-3107-BE08-0BEF-760753E977FC}"/>
              </a:ext>
            </a:extLst>
          </p:cNvPr>
          <p:cNvSpPr>
            <a:spLocks/>
          </p:cNvSpPr>
          <p:nvPr/>
        </p:nvSpPr>
        <p:spPr>
          <a:xfrm>
            <a:off x="5304657" y="2159390"/>
            <a:ext cx="434528" cy="434524"/>
          </a:xfrm>
          <a:custGeom>
            <a:avLst/>
            <a:gdLst>
              <a:gd name="connsiteX0" fmla="*/ 0 w 1230793"/>
              <a:gd name="connsiteY0" fmla="*/ 615397 h 1230793"/>
              <a:gd name="connsiteX1" fmla="*/ 615397 w 1230793"/>
              <a:gd name="connsiteY1" fmla="*/ 0 h 1230793"/>
              <a:gd name="connsiteX2" fmla="*/ 1230794 w 1230793"/>
              <a:gd name="connsiteY2" fmla="*/ 615397 h 1230793"/>
              <a:gd name="connsiteX3" fmla="*/ 615397 w 1230793"/>
              <a:gd name="connsiteY3" fmla="*/ 1230794 h 1230793"/>
              <a:gd name="connsiteX4" fmla="*/ 0 w 1230793"/>
              <a:gd name="connsiteY4" fmla="*/ 615397 h 1230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30793" h="1230793">
                <a:moveTo>
                  <a:pt x="0" y="615397"/>
                </a:moveTo>
                <a:cubicBezTo>
                  <a:pt x="0" y="275523"/>
                  <a:pt x="275523" y="0"/>
                  <a:pt x="615397" y="0"/>
                </a:cubicBezTo>
                <a:cubicBezTo>
                  <a:pt x="955271" y="0"/>
                  <a:pt x="1230794" y="275523"/>
                  <a:pt x="1230794" y="615397"/>
                </a:cubicBezTo>
                <a:cubicBezTo>
                  <a:pt x="1230794" y="955271"/>
                  <a:pt x="955271" y="1230794"/>
                  <a:pt x="615397" y="1230794"/>
                </a:cubicBezTo>
                <a:cubicBezTo>
                  <a:pt x="275523" y="1230794"/>
                  <a:pt x="0" y="955271"/>
                  <a:pt x="0" y="615397"/>
                </a:cubicBezTo>
                <a:close/>
              </a:path>
            </a:pathLst>
          </a:custGeom>
          <a:solidFill>
            <a:schemeClr val="accent1"/>
          </a:solidFill>
          <a:ln w="28575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213265" tIns="213265" rIns="213265" bIns="213265" numCol="1" spcCol="1270" anchor="ctr" anchorCtr="0">
            <a:noAutofit/>
          </a:bodyPr>
          <a:lstStyle/>
          <a:p>
            <a:pPr marL="0" lvl="0" indent="0" algn="ctr" defTabSz="2311400"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600" kern="1200"/>
              <a:t>08</a:t>
            </a:r>
          </a:p>
        </p:txBody>
      </p:sp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9F3542A7-D2F7-883A-BC84-E5B18501F144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025141" cy="153888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circles, number, numbers, cycle, cycles, process, processes</a:t>
            </a:r>
          </a:p>
        </p:txBody>
      </p:sp>
    </p:spTree>
    <p:extLst>
      <p:ext uri="{BB962C8B-B14F-4D97-AF65-F5344CB8AC3E}">
        <p14:creationId xmlns:p14="http://schemas.microsoft.com/office/powerpoint/2010/main" val="26834878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